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94" r:id="rId2"/>
    <p:sldId id="306" r:id="rId3"/>
    <p:sldId id="825" r:id="rId4"/>
    <p:sldId id="822" r:id="rId5"/>
    <p:sldId id="823" r:id="rId6"/>
    <p:sldId id="302" r:id="rId7"/>
    <p:sldId id="304" r:id="rId8"/>
    <p:sldId id="303" r:id="rId9"/>
    <p:sldId id="305" r:id="rId10"/>
    <p:sldId id="275" r:id="rId11"/>
    <p:sldId id="824" r:id="rId12"/>
  </p:sldIdLst>
  <p:sldSz cx="9144000" cy="6858000" type="screen4x3"/>
  <p:notesSz cx="6761163" cy="988218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>
              <a:solidFill>
                <a:schemeClr val="tx1"/>
              </a:solidFill>
            </a:rPr>
            <a:t>Уровень </a:t>
          </a:r>
          <a:r>
            <a: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ДОУ «ДС №48 г. Челябинска»</a:t>
          </a:r>
          <a:endParaRPr lang="ru-RU" sz="1200" b="1" dirty="0">
            <a:solidFill>
              <a:schemeClr val="tx1"/>
            </a:solidFill>
          </a:endParaRP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tx1"/>
              </a:solidFill>
            </a:rPr>
            <a:t>Уровень </a:t>
          </a:r>
          <a:r>
            <a:rPr lang="ru-RU" sz="1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ДОУ «ДС №48 г. Челябинска»</a:t>
          </a:r>
          <a:endParaRPr lang="ru-RU" sz="1200" b="1" kern="1200" dirty="0">
            <a:solidFill>
              <a:schemeClr val="tx1"/>
            </a:solidFill>
          </a:endParaRP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9837" cy="494109"/>
          </a:xfrm>
          <a:prstGeom prst="rect">
            <a:avLst/>
          </a:prstGeom>
        </p:spPr>
        <p:txBody>
          <a:bodyPr vert="horz" lIns="90983" tIns="45491" rIns="90983" bIns="4549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1"/>
            <a:ext cx="2929837" cy="494109"/>
          </a:xfrm>
          <a:prstGeom prst="rect">
            <a:avLst/>
          </a:prstGeom>
        </p:spPr>
        <p:txBody>
          <a:bodyPr vert="horz" lIns="90983" tIns="45491" rIns="90983" bIns="45491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8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741363"/>
            <a:ext cx="4938713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83" tIns="45491" rIns="90983" bIns="4549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694040"/>
            <a:ext cx="5408930" cy="4446984"/>
          </a:xfrm>
          <a:prstGeom prst="rect">
            <a:avLst/>
          </a:prstGeom>
        </p:spPr>
        <p:txBody>
          <a:bodyPr vert="horz" lIns="90983" tIns="45491" rIns="90983" bIns="4549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86364"/>
            <a:ext cx="2929837" cy="494109"/>
          </a:xfrm>
          <a:prstGeom prst="rect">
            <a:avLst/>
          </a:prstGeom>
        </p:spPr>
        <p:txBody>
          <a:bodyPr vert="horz" lIns="90983" tIns="45491" rIns="90983" bIns="4549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386364"/>
            <a:ext cx="2929837" cy="494109"/>
          </a:xfrm>
          <a:prstGeom prst="rect">
            <a:avLst/>
          </a:prstGeom>
        </p:spPr>
        <p:txBody>
          <a:bodyPr vert="horz" lIns="90983" tIns="45491" rIns="90983" bIns="45491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Resize="1"/>
          </p:cNvSpPr>
          <p:nvPr>
            <p:ph type="sldImg"/>
          </p:nvPr>
        </p:nvSpPr>
        <p:spPr>
          <a:solidFill>
            <a:schemeClr val="accent1"/>
          </a:solidFill>
          <a:ln w="25400">
            <a:solidFill>
              <a:schemeClr val="accent1">
                <a:shade val="50000"/>
              </a:schemeClr>
            </a:solidFill>
            <a:prstDash val="solid"/>
          </a:ln>
        </p:spPr>
      </p:sp>
      <p:sp>
        <p:nvSpPr>
          <p:cNvPr id="3" name="Заметки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2.jpe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автономное дошкольное образовательное учреждение</a:t>
            </a:r>
          </a:p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етский сад № 48 г. Челябинск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МАДОУ «ДС №48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.А. Бур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етевого взаимодействия с родителями (законными представителями) воспитанников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0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1813159"/>
              </p:ext>
            </p:extLst>
          </p:nvPr>
        </p:nvGraphicFramePr>
        <p:xfrm>
          <a:off x="361949" y="1484784"/>
          <a:ext cx="8640761" cy="50447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ожидание передачи фото и видео материалов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инструкции по размещению информации в официальной группе ДОУ Вконтакте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арший воспитатель </a:t>
                      </a:r>
                      <a:b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</a:b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.Г. Корнеева, педагог-психолог К.С. Кретова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1.04.2023 г. – 26.04.2023 г.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овышение информационной компетенции педагог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Сокращение времени на создание информационных постов в официальной группе ДОУ </a:t>
                      </a:r>
                      <a:r>
                        <a:rPr lang="ru-RU" sz="12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онтакте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астер-класс для педагогов по обучению создания информационных постов в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фициальной 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группе ДОУ </a:t>
                      </a:r>
                      <a:r>
                        <a:rPr lang="ru-RU" sz="1200" b="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контакте</a:t>
                      </a:r>
                      <a:endParaRPr lang="ru-RU" sz="12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7.04.2023 г. </a:t>
                      </a:r>
                      <a:endParaRPr lang="ru-RU" sz="12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</a:tr>
              <a:tr h="51818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Отсутствие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лгоритма согласования с родителями размещаемой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алгоритма согласования с родителями размещаемой информации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уководитель СП А.А. Юрпалова, заместитель заведующего по УВР Е.В. Мартын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8.04.2023 г. –03.05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окращение времени на согласование с родителями размещаемой информации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Необходимость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уточнения информации у исполнител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крепление ответственных лиц в каждой группе ДОУ по созданию информационных постов в официальной группе ДОУ Вконтакте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уководитель СП А.А. Юрпалова, заместитель заведующего по УВР Е.В. Мартын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4.05.2023 г. – 05.04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окращение времени на создание информационных постов в официальной группе ДОУ Вконтакте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. Потеря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ктуальности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регламента размещения информации ответственными лицам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арший воспитатель </a:t>
                      </a:r>
                      <a:b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</a:b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.Г. Корнеева, педагог-психолог К.С. Крет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4.05.2023 г. – 05.04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воевременное оповещение родителей мероприятиях проходящих в ДОУ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7510050"/>
              </p:ext>
            </p:extLst>
          </p:nvPr>
        </p:nvGraphicFramePr>
        <p:xfrm>
          <a:off x="361949" y="1484784"/>
          <a:ext cx="8640761" cy="39931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7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28192"/>
                <a:gridCol w="208823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55850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Апробация процесса оптимизации процесса сетевого взаимодействия с родителями (законными представителями) воспитанников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меститель заведующего по УВР Е.В. Мартынова, старший воспитатель Н.Г. Корнеева, педагог-психолог К.С. Кретова,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8.05.2023 г. – 19.05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. Рациональное использование времени и ресурсов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Эффективная организация воспитательного процесса вследствие получения и использования обратной связи от родителей (законных представителей)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Высокая активность обращения родителей (законных представителей) к   официальной группе ДОУ Вконтакте 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. Анализ и оценка достижения целевых показателей проект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ведующий О.А.Бура,    руководитель СП А.А. Юрпалова, заместитель заведующего по УВР Е.В. Мартынова, старший воспитатель Н.Г. Корнеева, педагог-психолог К.С. Кретова,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9.05.2023 г. – 02.06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. Сокращение временных затрат на получение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Увеличение процента охвата родителей (законных представителей),  использующих  официальную группу ДОУ </a:t>
                      </a:r>
                      <a:r>
                        <a:rPr lang="ru-RU" sz="1100" dirty="0" err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контакте</a:t>
                      </a: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 для обратной связ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Создан алгоритм согласования с родителями (законными представителями) размещаемой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18492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433" y="1153001"/>
            <a:ext cx="7455942" cy="5253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 txBox="1">
            <a:spLocks noGrp="1"/>
          </p:cNvSpPr>
          <p:nvPr>
            <p:ph type="sldNum" sz="quarter" idx="4294967295"/>
          </p:nvPr>
        </p:nvSpPr>
        <p:spPr>
          <a:xfrm>
            <a:off x="6553080" y="6356520"/>
            <a:ext cx="2133360" cy="364679"/>
          </a:xfrm>
          <a:prstGeom prst="rect">
            <a:avLst/>
          </a:prstGeom>
          <a:noFill/>
          <a:ln>
            <a:noFill/>
          </a:ln>
        </p:spPr>
        <p:txBody>
          <a:bodyPr wrap="square" lIns="90000" tIns="45000" rIns="90000" bIns="45000" anchor="t" anchorCtr="0"/>
          <a:lstStyle/>
          <a:p>
            <a:pPr lvl="0"/>
            <a:fld id="{EDCE3400-A033-43A4-ABED-F643C0E910A7}" type="slidenum">
              <a:t>3</a:t>
            </a:fld>
            <a:endParaRPr lang="ru-RU">
              <a:solidFill>
                <a:srgbClr val="000000"/>
              </a:solidFill>
              <a:latin typeface="Calibri" pitchFamily="18"/>
              <a:cs typeface="Tahoma" pitchFamily="2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164960" y="384480"/>
            <a:ext cx="6957360" cy="2851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2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1203480" y="6309360"/>
            <a:ext cx="6957360" cy="28512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Заголовок 1"/>
          <p:cNvSpPr/>
          <p:nvPr/>
        </p:nvSpPr>
        <p:spPr>
          <a:xfrm>
            <a:off x="1259639" y="179640"/>
            <a:ext cx="6768360" cy="35964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91440" tIns="45720" rIns="91440" bIns="4572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1600" b="1" i="0" u="none" strike="noStrike" kern="1200" spc="0">
                <a:ln>
                  <a:noFill/>
                </a:ln>
                <a:solidFill>
                  <a:srgbClr val="000000"/>
                </a:solidFill>
                <a:latin typeface="Times New Roman" pitchFamily="18"/>
                <a:ea typeface="Lucida Sans Unicode" pitchFamily="2"/>
                <a:cs typeface="Times New Roman" pitchFamily="18"/>
              </a:rPr>
              <a:t>Администрация города Челябинска</a:t>
            </a:r>
          </a:p>
        </p:txBody>
      </p:sp>
      <p:pic>
        <p:nvPicPr>
          <p:cNvPr id="6" name="Рисунок 18"/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395640" y="116640"/>
            <a:ext cx="560880" cy="689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lum/>
            <a:alphaModFix/>
          </a:blip>
          <a:srcRect/>
          <a:stretch>
            <a:fillRect/>
          </a:stretch>
        </p:blipFill>
        <p:spPr>
          <a:xfrm>
            <a:off x="673560" y="1206719"/>
            <a:ext cx="1512000" cy="1959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lum/>
            <a:alphaModFix/>
          </a:blip>
          <a:srcRect/>
          <a:stretch>
            <a:fillRect/>
          </a:stretch>
        </p:blipFill>
        <p:spPr>
          <a:xfrm>
            <a:off x="3846239" y="1103040"/>
            <a:ext cx="1315800" cy="1959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lum/>
            <a:alphaModFix/>
          </a:blip>
          <a:srcRect/>
          <a:stretch>
            <a:fillRect/>
          </a:stretch>
        </p:blipFill>
        <p:spPr>
          <a:xfrm>
            <a:off x="5594040" y="1136880"/>
            <a:ext cx="1338480" cy="1959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lum/>
            <a:alphaModFix/>
          </a:blip>
          <a:srcRect/>
          <a:stretch>
            <a:fillRect/>
          </a:stretch>
        </p:blipFill>
        <p:spPr>
          <a:xfrm>
            <a:off x="7250040" y="1136880"/>
            <a:ext cx="1296000" cy="1959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lum/>
            <a:alphaModFix/>
          </a:blip>
          <a:srcRect/>
          <a:stretch>
            <a:fillRect/>
          </a:stretch>
        </p:blipFill>
        <p:spPr>
          <a:xfrm>
            <a:off x="3784139" y="3839759"/>
            <a:ext cx="1440000" cy="193211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>
            <a:lum/>
            <a:alphaModFix/>
          </a:blip>
          <a:srcRect/>
          <a:stretch>
            <a:fillRect/>
          </a:stretch>
        </p:blipFill>
        <p:spPr>
          <a:xfrm>
            <a:off x="7240140" y="3839759"/>
            <a:ext cx="1368000" cy="1872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/>
          <p:cNvSpPr txBox="1"/>
          <p:nvPr/>
        </p:nvSpPr>
        <p:spPr>
          <a:xfrm>
            <a:off x="395640" y="3229336"/>
            <a:ext cx="2062800" cy="117216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/>
            </a:pPr>
            <a:r>
              <a:rPr lang="ru-RU" sz="1200" b="0" i="0" u="none" strike="noStrike" kern="1200" dirty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Бура Ольга </a:t>
            </a:r>
            <a:r>
              <a:rPr lang="ru-RU" sz="1200" b="0" i="0" u="none" strike="noStrike" kern="1200" dirty="0" smtClean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Александровна</a:t>
            </a:r>
            <a:endParaRPr lang="ru-RU" sz="1200" b="0" i="0" u="none" strike="noStrike" kern="1200" dirty="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/>
            </a:pPr>
            <a:r>
              <a:rPr lang="ru-RU" sz="1200" b="0" i="0" u="none" strike="noStrike" kern="1200" dirty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заведующий </a:t>
            </a:r>
            <a:r>
              <a:rPr lang="ru-RU" sz="1200" b="0" i="0" u="none" strike="noStrike" kern="1200" dirty="0" smtClean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МАДОУ </a:t>
            </a:r>
          </a:p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/>
            </a:pPr>
            <a:r>
              <a:rPr lang="ru-RU" sz="1200" b="0" i="0" u="none" strike="noStrike" kern="1200" dirty="0" smtClean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«</a:t>
            </a:r>
            <a:r>
              <a:rPr lang="ru-RU" sz="1200" b="0" i="0" u="none" strike="noStrike" kern="1200" dirty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ДС № 48 г. Челябинска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560" y="792360"/>
            <a:ext cx="2808000" cy="55836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>
              <a:buNone/>
              <a:tabLst/>
              <a:defRPr sz="1800" b="1"/>
            </a:pPr>
            <a:r>
              <a:rPr lang="ru-RU" sz="1800" b="1">
                <a:latin typeface="" pitchFamily="18"/>
              </a:rPr>
              <a:t>Руководитель проект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018040" y="720360"/>
            <a:ext cx="2307240" cy="2797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>
              <a:buNone/>
              <a:tabLst/>
              <a:defRPr sz="1800" b="1"/>
            </a:pPr>
            <a:r>
              <a:rPr lang="ru-RU" sz="1800" b="1">
                <a:latin typeface="" pitchFamily="18"/>
              </a:rPr>
              <a:t>Команда проект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722099" y="5667478"/>
            <a:ext cx="2270880" cy="938880"/>
          </a:xfrm>
          <a:prstGeom prst="rect">
            <a:avLst/>
          </a:prstGeom>
          <a:noFill/>
          <a:ln>
            <a:noFill/>
          </a:ln>
        </p:spPr>
        <p:txBody>
          <a:bodyPr vert="horz" wrap="none" lIns="90000" tIns="45000" rIns="90000" bIns="45000" anchorCtr="0" compatLnSpc="0"/>
          <a:lstStyle/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b="0" i="0" u="none" strike="noStrike" kern="1200" dirty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Виктория Александровна </a:t>
            </a:r>
            <a:endParaRPr lang="ru-RU" sz="1000" b="0" i="0" u="none" strike="noStrike" kern="1200" dirty="0" smtClean="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b="0" i="0" u="none" strike="noStrike" kern="1200" dirty="0" smtClean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Белоцерковец</a:t>
            </a:r>
            <a:endParaRPr lang="ru-RU" sz="1000" b="0" i="0" u="none" strike="noStrike" kern="1200" dirty="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  <a:p>
            <a:pPr marL="0" marR="0" lvl="0" indent="0" algn="ctr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b="0" i="0" u="none" strike="noStrike" kern="1200" dirty="0">
                <a:ln>
                  <a:noFill/>
                </a:ln>
                <a:latin typeface="Arial" pitchFamily="18"/>
                <a:ea typeface="Lucida Sans Unicode" pitchFamily="2"/>
                <a:cs typeface="Mangal" pitchFamily="2"/>
              </a:rPr>
              <a:t> воспитател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946040" y="3096359"/>
            <a:ext cx="2337120" cy="55764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Анна Александровна </a:t>
            </a:r>
            <a:endParaRPr lang="ru-RU" sz="1000" dirty="0" smtClean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 smtClean="0">
                <a:latin typeface="" pitchFamily="18"/>
              </a:rPr>
              <a:t>Юрпалова</a:t>
            </a:r>
            <a:endParaRPr lang="ru-RU" sz="1000" dirty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руководитель СП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168360" y="3096359"/>
            <a:ext cx="2281680" cy="7434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Елена Владимировна </a:t>
            </a:r>
            <a:endParaRPr lang="ru-RU" sz="1000" dirty="0" smtClean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 smtClean="0">
                <a:latin typeface="" pitchFamily="18"/>
              </a:rPr>
              <a:t>Мартынова</a:t>
            </a:r>
            <a:endParaRPr lang="ru-RU" sz="1000" dirty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заместитель заведующего </a:t>
            </a:r>
            <a:endParaRPr lang="ru-RU" sz="1000" dirty="0" smtClean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 smtClean="0">
                <a:latin typeface="" pitchFamily="18"/>
              </a:rPr>
              <a:t>по </a:t>
            </a:r>
            <a:r>
              <a:rPr lang="ru-RU" sz="1000" dirty="0">
                <a:latin typeface="" pitchFamily="18"/>
              </a:rPr>
              <a:t>УВР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674040" y="3096359"/>
            <a:ext cx="2319120" cy="55764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Наталья Геннадьевна </a:t>
            </a:r>
            <a:endParaRPr lang="ru-RU" sz="1000" dirty="0" smtClean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 smtClean="0">
                <a:latin typeface="" pitchFamily="18"/>
              </a:rPr>
              <a:t>Корнеева</a:t>
            </a:r>
            <a:endParaRPr lang="ru-RU" sz="1000" dirty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старший воспитатель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411180" y="5783759"/>
            <a:ext cx="1956960" cy="54612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Кристина Сергеевна </a:t>
            </a:r>
            <a:endParaRPr lang="ru-RU" sz="1000" dirty="0" smtClean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 smtClean="0">
                <a:latin typeface="" pitchFamily="18"/>
              </a:rPr>
              <a:t>Кретова</a:t>
            </a:r>
            <a:endParaRPr lang="ru-RU" sz="1000" dirty="0">
              <a:latin typeface="" pitchFamily="18"/>
            </a:endParaRP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педагог-психолог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008140" y="5711759"/>
            <a:ext cx="2088000" cy="55764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/>
          <a:lstStyle>
            <a:def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None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defPPr>
            <a:lvl1pPr marL="432000" lvl="0" indent="-324000" algn="l" rtl="0" hangingPunct="1">
              <a:spcBef>
                <a:spcPts val="0"/>
              </a:spcBef>
              <a:spcAft>
                <a:spcPts val="1417"/>
              </a:spcAft>
              <a:buSzPct val="45000"/>
              <a:buFont typeface="StarSymbol"/>
              <a:buChar char="●"/>
              <a:defRPr lang="ru-RU" sz="32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1pPr>
            <a:lvl2pPr marL="864000" lvl="1" indent="-324000" algn="l" rtl="0" hangingPunct="1">
              <a:spcBef>
                <a:spcPts val="0"/>
              </a:spcBef>
              <a:spcAft>
                <a:spcPts val="1134"/>
              </a:spcAft>
              <a:buSzPct val="75000"/>
              <a:buFont typeface="StarSymbol"/>
              <a:buChar char="–"/>
              <a:defRPr lang="ru-RU" sz="24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2pPr>
            <a:lvl3pPr marL="1295999" lvl="2" indent="-288000" algn="l" rtl="0" hangingPunct="1">
              <a:spcBef>
                <a:spcPts val="0"/>
              </a:spcBef>
              <a:spcAft>
                <a:spcPts val="850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3pPr>
            <a:lvl4pPr marL="1728000" lvl="3" indent="-216000" algn="l" rtl="0" hangingPunct="1">
              <a:spcBef>
                <a:spcPts val="0"/>
              </a:spcBef>
              <a:spcAft>
                <a:spcPts val="567"/>
              </a:spcAft>
              <a:buSzPct val="75000"/>
              <a:buFont typeface="StarSymbol"/>
              <a:buChar char="–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4pPr>
            <a:lvl5pPr marL="2160000" lvl="4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5pPr>
            <a:lvl6pPr marL="2592000" lvl="5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6pPr>
            <a:lvl7pPr marL="3024000" lvl="6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7pPr>
            <a:lvl8pPr marL="3456000" lvl="7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8pPr>
            <a:lvl9pPr marL="3887999" lvl="8" indent="-216000" algn="l" rtl="0" hangingPunct="1">
              <a:spcBef>
                <a:spcPts val="0"/>
              </a:spcBef>
              <a:spcAft>
                <a:spcPts val="283"/>
              </a:spcAft>
              <a:buSzPct val="45000"/>
              <a:buFont typeface="StarSymbol"/>
              <a:buChar char="●"/>
              <a:defRPr lang="ru-RU" sz="2000" b="0" i="0" u="none" strike="noStrike" kern="1200" spc="0">
                <a:ln>
                  <a:noFill/>
                </a:ln>
                <a:solidFill>
                  <a:srgbClr val="000000"/>
                </a:solidFill>
                <a:latin typeface="Calibri"/>
                <a:ea typeface="Lucida Sans Unicode" pitchFamily="2"/>
                <a:cs typeface="Mangal" pitchFamily="2"/>
              </a:defRPr>
            </a:lvl9pPr>
          </a:lstStyle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Марина Александровна </a:t>
            </a:r>
            <a:r>
              <a:rPr lang="ru-RU" sz="1000" dirty="0" smtClean="0">
                <a:latin typeface="" pitchFamily="18"/>
              </a:rPr>
              <a:t>Баранникова</a:t>
            </a:r>
          </a:p>
          <a:p>
            <a:pPr lvl="0" algn="ctr">
              <a:spcBef>
                <a:spcPts val="0"/>
              </a:spcBef>
              <a:spcAft>
                <a:spcPts val="0"/>
              </a:spcAft>
              <a:buNone/>
              <a:tabLst/>
              <a:defRPr sz="1200"/>
            </a:pPr>
            <a:r>
              <a:rPr lang="ru-RU" sz="1000" dirty="0">
                <a:latin typeface="" pitchFamily="18"/>
              </a:rPr>
              <a:t> </a:t>
            </a:r>
            <a:r>
              <a:rPr lang="ru-RU" sz="1000" dirty="0" smtClean="0">
                <a:latin typeface="" pitchFamily="18"/>
              </a:rPr>
              <a:t>         воспитатель</a:t>
            </a:r>
            <a:endParaRPr lang="ru-RU" sz="1000" dirty="0">
              <a:latin typeface="" pitchFamily="18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1">
            <a:lum/>
            <a:alphaModFix/>
          </a:blip>
          <a:srcRect/>
          <a:stretch>
            <a:fillRect/>
          </a:stretch>
        </p:blipFill>
        <p:spPr>
          <a:xfrm>
            <a:off x="5584140" y="3839759"/>
            <a:ext cx="1368000" cy="187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9657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568863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иказ об открытии проекта за подписью руководителя ОО 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664457"/>
            <a:ext cx="3297163" cy="464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0" name="Picture 2" descr="https://sun9-37.userapi.com/impg/f56MqqLZTZOkix2uQPdMqs11vWIO9OdIaDMxqw/c5PgpNku2Tg.jpg?size=1620x2160&amp;quality=95&amp;sign=f276523aae620cd314a9cdc339299425&amp;type=albu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723" y="669774"/>
            <a:ext cx="4296569" cy="5728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701066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208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9472869"/>
              </p:ext>
            </p:extLst>
          </p:nvPr>
        </p:nvGraphicFramePr>
        <p:xfrm>
          <a:off x="483844" y="1603534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о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общение информации</a:t>
                      </a:r>
                    </a:p>
                  </a:txBody>
                  <a:tcPr marL="9525" marR="9525" marT="9525" marB="0" anchor="ctr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974109"/>
              </p:ext>
            </p:extLst>
          </p:nvPr>
        </p:nvGraphicFramePr>
        <p:xfrm>
          <a:off x="4886178" y="5071122"/>
          <a:ext cx="3928268" cy="131253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 Длительное ожидание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передачи фото и видео материалов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 Отсутствие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алгоритма согласования с родителями размещаемой информаци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 Необходимость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уточнения информации у исполнителя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 Потеря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актуальности информаци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500562" y="4968296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6111973" y="1152667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6205123" y="292472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7" name="Пятно 1 60"/>
          <p:cNvSpPr/>
          <p:nvPr/>
        </p:nvSpPr>
        <p:spPr>
          <a:xfrm>
            <a:off x="3995936" y="474835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8163707" y="3008483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Пятно 1 60"/>
          <p:cNvSpPr/>
          <p:nvPr/>
        </p:nvSpPr>
        <p:spPr>
          <a:xfrm>
            <a:off x="8122361" y="121264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2875" y="515047"/>
            <a:ext cx="89485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цесса сетевого взаимодействия с родителями (законными представителями)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оспитанников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94983"/>
              </p:ext>
            </p:extLst>
          </p:nvPr>
        </p:nvGraphicFramePr>
        <p:xfrm>
          <a:off x="2740598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мероприят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322858"/>
              </p:ext>
            </p:extLst>
          </p:nvPr>
        </p:nvGraphicFramePr>
        <p:xfrm>
          <a:off x="4889426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рос на фото- и видео- материалы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66497"/>
              </p:ext>
            </p:extLst>
          </p:nvPr>
        </p:nvGraphicFramePr>
        <p:xfrm>
          <a:off x="6985306" y="1643238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фото- и видео-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0970412"/>
              </p:ext>
            </p:extLst>
          </p:nvPr>
        </p:nvGraphicFramePr>
        <p:xfrm>
          <a:off x="411154" y="3419947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правка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172929"/>
              </p:ext>
            </p:extLst>
          </p:nvPr>
        </p:nvGraphicFramePr>
        <p:xfrm>
          <a:off x="2748706" y="3424705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- и видео-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24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528226"/>
              </p:ext>
            </p:extLst>
          </p:nvPr>
        </p:nvGraphicFramePr>
        <p:xfrm>
          <a:off x="4921575" y="3424705"/>
          <a:ext cx="1751856" cy="16023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бор фото- и видео- материалов для публикации с учетом письменных разрешений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-6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9312698"/>
              </p:ext>
            </p:extLst>
          </p:nvPr>
        </p:nvGraphicFramePr>
        <p:xfrm>
          <a:off x="6985306" y="3442105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формле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-3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1197369"/>
              </p:ext>
            </p:extLst>
          </p:nvPr>
        </p:nvGraphicFramePr>
        <p:xfrm>
          <a:off x="483844" y="5187571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ий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гласова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557385"/>
              </p:ext>
            </p:extLst>
          </p:nvPr>
        </p:nvGraphicFramePr>
        <p:xfrm>
          <a:off x="2573274" y="5259087"/>
          <a:ext cx="1751856" cy="12496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мещ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 в официальной группе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041565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56218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520770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8</a:t>
            </a:r>
            <a:r>
              <a:rPr lang="ru-RU" sz="12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1041565" y="471631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9</a:t>
            </a:r>
            <a:r>
              <a:rPr lang="ru-RU" sz="12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3275855" y="4788114"/>
            <a:ext cx="720081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0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4852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4" name="Стрелка вправо 123"/>
          <p:cNvSpPr/>
          <p:nvPr/>
        </p:nvSpPr>
        <p:spPr>
          <a:xfrm>
            <a:off x="2212459" y="553577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1128847"/>
              </p:ext>
            </p:extLst>
          </p:nvPr>
        </p:nvGraphicFramePr>
        <p:xfrm>
          <a:off x="361949" y="1484784"/>
          <a:ext cx="7954467" cy="4633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Длительное ожидание передачи фото и видео материалов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потер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отсутствие ограничений на количество предоставляемых фото и видео материалов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Отсутствие алгоритма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огласования с родителями размещаемой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разработанного 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лгоритма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огласования с родителями размещаемой информации</a:t>
                      </a:r>
                      <a:endParaRPr lang="ru-RU" altLang="ru-RU" sz="14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анный алгоритм согласовании с родителями размещаемой информации</a:t>
                      </a: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еобходимость уточнения информации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у исполнител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 полной информации о мероприятии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Потеря актуальности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ое количество сотрудников вовлеченных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процесс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бликования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ации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786486537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4149080"/>
            <a:ext cx="3865563" cy="216024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е ожидание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ачи фото и видео материалов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Отсутствие алгоритма согласования с родителями размещаемой информации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Необходимость уточнения информации у исполнителя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Потеря актуальности информации</a:t>
            </a:r>
            <a:endParaRPr lang="ru-RU" sz="2800" b="1" i="0" u="none" strike="noStrike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676134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665315" y="554355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81374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563888" y="554355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9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9414" y="604555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 </a:t>
            </a: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592668" y="4110318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29595" y="778865"/>
            <a:ext cx="889362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птимизация процесса сетевого взаимодействия с родителями (законными представителями) воспитанников»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1306983"/>
              </p:ext>
            </p:extLst>
          </p:nvPr>
        </p:nvGraphicFramePr>
        <p:xfrm>
          <a:off x="578941" y="2525881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общ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20004"/>
              </p:ext>
            </p:extLst>
          </p:nvPr>
        </p:nvGraphicFramePr>
        <p:xfrm>
          <a:off x="2824550" y="2528786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мероприят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0957435"/>
              </p:ext>
            </p:extLst>
          </p:nvPr>
        </p:nvGraphicFramePr>
        <p:xfrm>
          <a:off x="5097660" y="2306007"/>
          <a:ext cx="1751856" cy="1752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бор фото и видео материалов с учетом письменных разрешений родителей на публикацию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0140562"/>
              </p:ext>
            </p:extLst>
          </p:nvPr>
        </p:nvGraphicFramePr>
        <p:xfrm>
          <a:off x="7250080" y="2471272"/>
          <a:ext cx="1498384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983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формле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-1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5034507"/>
              </p:ext>
            </p:extLst>
          </p:nvPr>
        </p:nvGraphicFramePr>
        <p:xfrm>
          <a:off x="395536" y="4452959"/>
          <a:ext cx="198018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801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правка в предложенны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овости официальной группы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9752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6876256" y="297222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770176" y="297222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370599" y="485012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18425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606937" y="18579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362200" y="396353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6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4005137" y="2053870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xmlns="" id="{E460C5E6-5047-4C75-8C7B-4DE90D77B07D}"/>
              </a:ext>
            </a:extLst>
          </p:cNvPr>
          <p:cNvSpPr/>
          <p:nvPr/>
        </p:nvSpPr>
        <p:spPr>
          <a:xfrm>
            <a:off x="6388398" y="1883799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xmlns="" id="{7710A555-C240-441B-877A-74BA51DF6CA7}"/>
              </a:ext>
            </a:extLst>
          </p:cNvPr>
          <p:cNvSpPr/>
          <p:nvPr/>
        </p:nvSpPr>
        <p:spPr>
          <a:xfrm>
            <a:off x="8297049" y="1971262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8BFCFCEC-6A8A-4879-960C-08B3AEDF6CD5}"/>
              </a:ext>
            </a:extLst>
          </p:cNvPr>
          <p:cNvSpPr txBox="1"/>
          <p:nvPr/>
        </p:nvSpPr>
        <p:spPr>
          <a:xfrm>
            <a:off x="5880700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342215"/>
              </p:ext>
            </p:extLst>
          </p:nvPr>
        </p:nvGraphicFramePr>
        <p:xfrm>
          <a:off x="5993927" y="4661520"/>
          <a:ext cx="2933746" cy="85342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, 3, 4  Оформление публикации исполнителе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Разработанный алгоритм согласования с родителями размещаемой информ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53" name="Облако 52">
            <a:extLst>
              <a:ext uri="{FF2B5EF4-FFF2-40B4-BE49-F238E27FC236}">
                <a16:creationId xmlns:a16="http://schemas.microsoft.com/office/drawing/2014/main" xmlns="" id="{9ACCF01B-3199-413F-BB8D-FAEC7F3795E3}"/>
              </a:ext>
            </a:extLst>
          </p:cNvPr>
          <p:cNvSpPr/>
          <p:nvPr/>
        </p:nvSpPr>
        <p:spPr>
          <a:xfrm>
            <a:off x="4047772" y="409774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Прямоугольник 49"/>
          <p:cNvSpPr/>
          <p:nvPr/>
        </p:nvSpPr>
        <p:spPr>
          <a:xfrm>
            <a:off x="1043608" y="395996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684725"/>
              </p:ext>
            </p:extLst>
          </p:nvPr>
        </p:nvGraphicFramePr>
        <p:xfrm>
          <a:off x="2824550" y="4486495"/>
          <a:ext cx="1751856" cy="1417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 / 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 и размещение информации в официальной группе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-1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1</TotalTime>
  <Words>996</Words>
  <Application>Microsoft Office PowerPoint</Application>
  <PresentationFormat>Экран (4:3)</PresentationFormat>
  <Paragraphs>248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44</cp:revision>
  <cp:lastPrinted>2023-06-07T05:03:29Z</cp:lastPrinted>
  <dcterms:created xsi:type="dcterms:W3CDTF">2018-08-20T14:01:12Z</dcterms:created>
  <dcterms:modified xsi:type="dcterms:W3CDTF">2023-06-08T03:19:59Z</dcterms:modified>
</cp:coreProperties>
</file>